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slideLayouts/slideLayout10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896" r:id="rId4"/>
    <p:sldMasterId id="2147483908" r:id="rId5"/>
    <p:sldMasterId id="2147483920" r:id="rId6"/>
    <p:sldMasterId id="2147483933" r:id="rId7"/>
  </p:sldMasterIdLst>
  <p:notesMasterIdLst>
    <p:notesMasterId r:id="rId12"/>
  </p:notesMasterIdLst>
  <p:sldIdLst>
    <p:sldId id="430" r:id="rId8"/>
    <p:sldId id="431" r:id="rId9"/>
    <p:sldId id="433" r:id="rId10"/>
    <p:sldId id="434" r:id="rId11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629" autoAdjust="0"/>
  </p:normalViewPr>
  <p:slideViewPr>
    <p:cSldViewPr>
      <p:cViewPr varScale="1">
        <p:scale>
          <a:sx n="106" d="100"/>
          <a:sy n="106" d="100"/>
        </p:scale>
        <p:origin x="1308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204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t>01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34649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003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035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9251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14320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01.06.2017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 smtClean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9570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5179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014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8720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168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08783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01041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964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41852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0612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7422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778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3276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157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04146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95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44232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>
                <a:solidFill>
                  <a:prstClr val="black">
                    <a:tint val="75000"/>
                  </a:prstClr>
                </a:solidFill>
              </a:rPr>
              <a:t>1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7120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4189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2742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771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62453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752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2342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80327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7267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1096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35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5" name="think-cell Slide" r:id="rId53" imgW="270" imgH="270" progId="TCLayout.ActiveDocument.1">
                  <p:embed/>
                </p:oleObj>
              </mc:Choice>
              <mc:Fallback>
                <p:oleObj name="think-cell Slide" r:id="rId5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544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501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2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96683" y="1844824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5" name="Прямоугольник 4"/>
          <p:cNvSpPr/>
          <p:nvPr/>
        </p:nvSpPr>
        <p:spPr>
          <a:xfrm>
            <a:off x="107504" y="516487"/>
            <a:ext cx="858505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4077"/>
                </a:solidFill>
                <a:latin typeface="Arial"/>
              </a:rPr>
              <a:t>НИОКР «Наименование темы»</a:t>
            </a:r>
            <a:endParaRPr lang="ru-RU" sz="1400" dirty="0">
              <a:solidFill>
                <a:srgbClr val="004077"/>
              </a:solidFill>
              <a:latin typeface="Arial"/>
            </a:endParaRPr>
          </a:p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</a:t>
            </a:r>
            <a:r>
              <a:rPr lang="ru-RU" sz="1400" b="1" dirty="0" smtClean="0">
                <a:solidFill>
                  <a:srgbClr val="004077"/>
                </a:solidFill>
                <a:latin typeface="Arial"/>
              </a:rPr>
              <a:t>«…»</a:t>
            </a:r>
            <a:endParaRPr lang="ru-RU" sz="1400" b="1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08561" y="3875245"/>
            <a:ext cx="860144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13252" y="2311896"/>
            <a:ext cx="85714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ОАО «…» (полное название предприятия)</a:t>
            </a:r>
            <a:endParaRPr lang="ru-RU" altLang="ru-RU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34788" y="5447602"/>
            <a:ext cx="858048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4208" y="1968879"/>
            <a:ext cx="8607709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7338" y="2660332"/>
            <a:ext cx="8607099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 smtClean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32421" y="2959088"/>
            <a:ext cx="86205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От кого, номер и дата получения, пример ниже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ОАО «Сургутнефтегаз»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№  0348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от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01.01.2016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37247" y="5718506"/>
            <a:ext cx="8629001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годы</a:t>
            </a:r>
            <a:endParaRPr lang="ru-RU" altLang="ru-RU" sz="1200" b="1" dirty="0">
              <a:solidFill>
                <a:srgbClr val="000000"/>
              </a:solidFill>
              <a:latin typeface="Arial"/>
            </a:endParaRP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(ФБ) – …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17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г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млн руб</a:t>
            </a:r>
            <a:r>
              <a:rPr lang="ru-RU" altLang="ru-RU" sz="1200" dirty="0" smtClean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Внебюджетное финансирование – …..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2017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г. – </a:t>
            </a:r>
            <a:r>
              <a:rPr lang="ru-RU" altLang="ru-RU" sz="1200" b="1" dirty="0" smtClean="0">
                <a:solidFill>
                  <a:srgbClr val="000000"/>
                </a:solidFill>
                <a:latin typeface="Arial"/>
              </a:rPr>
              <a:t>…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37245" y="4204403"/>
            <a:ext cx="85521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4472C4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Arial"/>
              </a:rPr>
              <a:t>Создание …</a:t>
            </a:r>
          </a:p>
          <a:p>
            <a:pPr marL="171450" indent="-171450" algn="just">
              <a:buClr>
                <a:srgbClr val="4472C4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Arial"/>
              </a:rPr>
              <a:t>Разработать</a:t>
            </a:r>
            <a:r>
              <a:rPr lang="ru-RU" sz="1200" dirty="0" smtClean="0">
                <a:solidFill>
                  <a:prstClr val="black"/>
                </a:solidFill>
                <a:latin typeface="Arial"/>
              </a:rPr>
              <a:t>…</a:t>
            </a:r>
            <a:endParaRPr lang="ru-RU" sz="12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8" y="1249320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8" y="1616003"/>
            <a:ext cx="860709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все задачи, согласно ТТХ или , если их много, укрупненно, основные задачи, например: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азработка …</a:t>
            </a:r>
            <a:endParaRPr lang="ru-RU" sz="1200" dirty="0">
              <a:solidFill>
                <a:srgbClr val="000000"/>
              </a:solidFill>
            </a:endParaRP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</a:t>
            </a:r>
            <a:r>
              <a:rPr lang="ru-RU" sz="1200" dirty="0" smtClean="0">
                <a:solidFill>
                  <a:srgbClr val="000000"/>
                </a:solidFill>
              </a:rPr>
              <a:t>оздание </a:t>
            </a:r>
            <a:r>
              <a:rPr lang="ru-RU" sz="1200" dirty="0">
                <a:solidFill>
                  <a:srgbClr val="000000"/>
                </a:solidFill>
              </a:rPr>
              <a:t>и испытание </a:t>
            </a:r>
            <a:r>
              <a:rPr lang="ru-RU" sz="1200" dirty="0" smtClean="0">
                <a:solidFill>
                  <a:srgbClr val="000000"/>
                </a:solidFill>
              </a:rPr>
              <a:t>…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ОКР «…»</a:t>
            </a:r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9724" y="3435331"/>
            <a:ext cx="8607099" cy="296596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338" y="3717032"/>
            <a:ext cx="86070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</a:t>
            </a:r>
            <a:r>
              <a:rPr lang="ru-RU" sz="1200" dirty="0" smtClean="0">
                <a:solidFill>
                  <a:srgbClr val="000000"/>
                </a:solidFill>
              </a:rPr>
              <a:t>наличие/отсутствие </a:t>
            </a:r>
            <a:r>
              <a:rPr lang="ru-RU" sz="1200" dirty="0" smtClean="0">
                <a:solidFill>
                  <a:srgbClr val="000000"/>
                </a:solidFill>
              </a:rPr>
              <a:t>зарубежных аналогов</a:t>
            </a:r>
            <a:endParaRPr lang="ru-R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8" y="1140019"/>
            <a:ext cx="8607099" cy="344765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Сравнения с </a:t>
            </a:r>
            <a:r>
              <a:rPr lang="ru-RU" sz="1400" b="1" dirty="0" smtClean="0">
                <a:solidFill>
                  <a:srgbClr val="FFFFFF"/>
                </a:solidFill>
              </a:rPr>
              <a:t>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ОКР «…»</a:t>
            </a:r>
            <a:endParaRPr lang="ru-RU" dirty="0">
              <a:solidFill>
                <a:srgbClr val="004077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199685"/>
              </p:ext>
            </p:extLst>
          </p:nvPr>
        </p:nvGraphicFramePr>
        <p:xfrm>
          <a:off x="426938" y="1987428"/>
          <a:ext cx="6881366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5793"/>
                <a:gridCol w="2128257"/>
                <a:gridCol w="2057316"/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Наименование </a:t>
                      </a:r>
                      <a:r>
                        <a:rPr lang="ru-RU" sz="1000" b="1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параметра</a:t>
                      </a:r>
                      <a:endParaRPr lang="ru-RU" sz="1000" dirty="0">
                        <a:solidFill>
                          <a:srgbClr val="3C3C3C"/>
                        </a:solidFill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</a:rPr>
                        <a:t>Аналог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…</a:t>
                      </a:r>
                      <a:endParaRPr lang="ru-RU" sz="10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dirty="0" smtClean="0">
                        <a:solidFill>
                          <a:srgbClr val="FFFFFF"/>
                        </a:solidFill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000" b="1" dirty="0">
                          <a:solidFill>
                            <a:srgbClr val="FFFFFF"/>
                          </a:solidFill>
                          <a:effectLst/>
                          <a:latin typeface="Arial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000" dirty="0">
                        <a:solidFill>
                          <a:srgbClr val="3C3C3C"/>
                        </a:solidFill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  <a:endParaRPr lang="ru-RU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483768" y="450912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000000"/>
                </a:solidFill>
              </a:rPr>
              <a:t>Желательна картинка</a:t>
            </a:r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0" y="1170382"/>
            <a:ext cx="8607099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96149" y="1556792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Перечисляются планируемые результаты, согласно ТТХ</a:t>
            </a:r>
            <a:r>
              <a:rPr lang="en-US" sz="1200" dirty="0" smtClean="0">
                <a:solidFill>
                  <a:srgbClr val="000000"/>
                </a:solidFill>
              </a:rPr>
              <a:t>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62886" y="3573016"/>
            <a:ext cx="862628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 Перечисляется эффект выполнения работы, например: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...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Совершенствование….</a:t>
            </a:r>
            <a:endParaRPr lang="ru-RU" sz="1200" dirty="0">
              <a:solidFill>
                <a:srgbClr val="000000"/>
              </a:solidFill>
            </a:endParaRP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rgbClr val="000000"/>
                </a:solidFill>
              </a:rPr>
              <a:t> Повышение </a:t>
            </a:r>
            <a:r>
              <a:rPr lang="ru-RU" sz="1200" dirty="0">
                <a:solidFill>
                  <a:srgbClr val="000000"/>
                </a:solidFill>
              </a:rPr>
              <a:t>надёжности и </a:t>
            </a:r>
            <a:r>
              <a:rPr lang="ru-RU" sz="1200" dirty="0" smtClean="0">
                <a:solidFill>
                  <a:srgbClr val="000000"/>
                </a:solidFill>
              </a:rPr>
              <a:t>технологичности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</a:p>
          <a:p>
            <a:pPr marL="180975" indent="-180975" algn="just" fontAlgn="base">
              <a:spcAft>
                <a:spcPts val="3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Снижение </a:t>
            </a:r>
            <a:r>
              <a:rPr lang="ru-RU" sz="1200" dirty="0">
                <a:solidFill>
                  <a:srgbClr val="000000"/>
                </a:solidFill>
              </a:rPr>
              <a:t>эксплуатационных </a:t>
            </a:r>
            <a:r>
              <a:rPr lang="ru-RU" sz="1200" dirty="0" smtClean="0">
                <a:solidFill>
                  <a:srgbClr val="000000"/>
                </a:solidFill>
              </a:rPr>
              <a:t>затрат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45861" y="3179934"/>
            <a:ext cx="8607099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72480" y="611396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rgbClr val="004077"/>
                </a:solidFill>
              </a:rPr>
              <a:t>НИОКР «…»</a:t>
            </a:r>
            <a:endParaRPr lang="ru-RU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305</TotalTime>
  <Words>201</Words>
  <Application>Microsoft Office PowerPoint</Application>
  <PresentationFormat>Экран (4:3)</PresentationFormat>
  <Paragraphs>43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7" baseType="lpstr">
      <vt:lpstr>Arial</vt:lpstr>
      <vt:lpstr>Calibri</vt:lpstr>
      <vt:lpstr>Calibri Light</vt:lpstr>
      <vt:lpstr>Times New Roman</vt:lpstr>
      <vt:lpstr>Wingdings</vt:lpstr>
      <vt:lpstr>Специальное оформление</vt:lpstr>
      <vt:lpstr>13_gpn_report</vt:lpstr>
      <vt:lpstr>1_Специальное оформление</vt:lpstr>
      <vt:lpstr>2_Специальное оформление</vt:lpstr>
      <vt:lpstr>3_Специальное оформление</vt:lpstr>
      <vt:lpstr>4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Anna</cp:lastModifiedBy>
  <cp:revision>300</cp:revision>
  <cp:lastPrinted>2016-03-02T15:20:47Z</cp:lastPrinted>
  <dcterms:created xsi:type="dcterms:W3CDTF">2016-02-27T11:59:56Z</dcterms:created>
  <dcterms:modified xsi:type="dcterms:W3CDTF">2017-06-01T07:18:34Z</dcterms:modified>
</cp:coreProperties>
</file>